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71" r:id="rId5"/>
    <p:sldId id="272" r:id="rId6"/>
    <p:sldId id="273" r:id="rId7"/>
    <p:sldId id="274" r:id="rId8"/>
    <p:sldId id="275" r:id="rId9"/>
  </p:sldIdLst>
  <p:sldSz cx="12192000" cy="6858000"/>
  <p:notesSz cx="6858000" cy="9144000"/>
  <p:custDataLst>
    <p:tags r:id="rId1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3B4E"/>
    <a:srgbClr val="9D7366"/>
    <a:srgbClr val="57A434"/>
    <a:srgbClr val="A6A8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20" d="100"/>
          <a:sy n="120" d="100"/>
        </p:scale>
        <p:origin x="19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AAAB7-0E1D-45DB-99FD-49F50F76F7BD}" type="datetimeFigureOut">
              <a:rPr lang="da-DK" smtClean="0"/>
              <a:t>18-06-2025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01313B-6D4E-4581-90F2-F4FB7847A8E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0779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01313B-6D4E-4581-90F2-F4FB7847A8E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0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5" Type="http://schemas.openxmlformats.org/officeDocument/2006/relationships/image" Target="../media/image12.sv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12" Type="http://schemas.openxmlformats.org/officeDocument/2006/relationships/image" Target="../media/image9.sv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png"/><Relationship Id="rId15" Type="http://schemas.openxmlformats.org/officeDocument/2006/relationships/image" Target="../media/image12.sv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Relationship Id="rId1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022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5456" y="2666278"/>
            <a:ext cx="6015235" cy="1362075"/>
          </a:xfrm>
        </p:spPr>
        <p:txBody>
          <a:bodyPr vert="horz" anchor="t">
            <a:normAutofit/>
          </a:bodyPr>
          <a:lstStyle>
            <a:lvl1pPr algn="ctr">
              <a:defRPr sz="3200" b="1" cap="all" baseline="0"/>
            </a:lvl1pPr>
          </a:lstStyle>
          <a:p>
            <a:r>
              <a:rPr lang="en-US" dirty="0"/>
              <a:t>Presentation tit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5457" y="4034012"/>
            <a:ext cx="6015233" cy="61912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uthor nam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13" name="Picture 8" descr="kamstru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559" y="3002798"/>
            <a:ext cx="1250671" cy="371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0" name="Picture 2" descr="AAU_LOGO_RGB_UK_crop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1" name="Picture 2" descr="ECD_logo01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4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1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6-17 September 2025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5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4727848" y="2666278"/>
            <a:ext cx="306597" cy="1986858"/>
          </a:xfrm>
          <a:prstGeom prst="rect">
            <a:avLst/>
          </a:prstGeom>
          <a:solidFill>
            <a:srgbClr val="57A4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 rot="5400000">
            <a:off x="6311839" y="3069145"/>
            <a:ext cx="144017" cy="3312000"/>
          </a:xfrm>
          <a:prstGeom prst="rect">
            <a:avLst/>
          </a:prstGeom>
          <a:solidFill>
            <a:srgbClr val="9D7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 rot="5400000">
            <a:off x="9629681" y="3069146"/>
            <a:ext cx="144017" cy="3312000"/>
          </a:xfrm>
          <a:prstGeom prst="rect">
            <a:avLst/>
          </a:prstGeom>
          <a:solidFill>
            <a:srgbClr val="A6A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5028861" y="2666278"/>
            <a:ext cx="306597" cy="1986858"/>
          </a:xfrm>
          <a:prstGeom prst="rect">
            <a:avLst/>
          </a:prstGeom>
          <a:solidFill>
            <a:srgbClr val="263B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1" name="Rectangle 2050"/>
          <p:cNvSpPr/>
          <p:nvPr userDrawn="1"/>
        </p:nvSpPr>
        <p:spPr>
          <a:xfrm>
            <a:off x="1086575" y="1448151"/>
            <a:ext cx="11620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Museo Sans 500" panose="02000000000000000000" pitchFamily="50" charset="0"/>
              </a:rPr>
              <a:t>Sponsored by</a:t>
            </a:r>
            <a:endParaRPr lang="en-GB" sz="1200" dirty="0">
              <a:latin typeface="Museo Sans 500" panose="02000000000000000000" pitchFamily="50" charset="0"/>
              <a:cs typeface="Arial" pitchFamily="34" charset="0"/>
            </a:endParaRP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85B62AD9-F2AA-4295-BD70-D20E8CD3C1D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97" y="2799827"/>
            <a:ext cx="1132202" cy="620283"/>
          </a:xfrm>
          <a:prstGeom prst="rect">
            <a:avLst/>
          </a:prstGeom>
        </p:spPr>
      </p:pic>
      <p:pic>
        <p:nvPicPr>
          <p:cNvPr id="40" name="Billede 39" descr="Et billede, der indeholder Grafik, grafisk design, skærmbillede, Farverigt&#10;&#10;Automatisk genereret beskrivelse">
            <a:extLst>
              <a:ext uri="{FF2B5EF4-FFF2-40B4-BE49-F238E27FC236}">
                <a16:creationId xmlns:a16="http://schemas.microsoft.com/office/drawing/2014/main" id="{CFE32871-0D04-088A-A661-F8A36281E22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192" y="4613100"/>
            <a:ext cx="1260927" cy="345554"/>
          </a:xfrm>
          <a:prstGeom prst="rect">
            <a:avLst/>
          </a:prstGeom>
        </p:spPr>
      </p:pic>
      <p:pic>
        <p:nvPicPr>
          <p:cNvPr id="5" name="Billede 4" descr="Et billede, der indeholder Font/skrifttype, tekst, Grafik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FBB67637-41F7-93D8-F412-E7286AE4F5C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30" y="4171072"/>
            <a:ext cx="1295049" cy="129504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28BE3FF-F86F-08A5-9E35-8FEC4A2D234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33170" y="1854847"/>
            <a:ext cx="1100349" cy="682975"/>
          </a:xfrm>
          <a:prstGeom prst="rect">
            <a:avLst/>
          </a:prstGeom>
        </p:spPr>
      </p:pic>
      <p:pic>
        <p:nvPicPr>
          <p:cNvPr id="12" name="Billede 11" descr="Et billede, der indeholder skærmbillede, Font/skrifttype, Grafik, grafisk design&#10;&#10;Indhold genereret af kunstig intelligens kan være forkert.">
            <a:extLst>
              <a:ext uri="{FF2B5EF4-FFF2-40B4-BE49-F238E27FC236}">
                <a16:creationId xmlns:a16="http://schemas.microsoft.com/office/drawing/2014/main" id="{A2933A72-EB17-13E7-C050-ED80D0CBAD0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575" y="5429839"/>
            <a:ext cx="1295049" cy="276186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D5F36B60-3B54-00F7-B54D-EC3179486AB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36129" y="3747222"/>
            <a:ext cx="1307343" cy="486835"/>
          </a:xfrm>
          <a:prstGeom prst="rect">
            <a:avLst/>
          </a:prstGeom>
        </p:spPr>
      </p:pic>
      <p:pic>
        <p:nvPicPr>
          <p:cNvPr id="19" name="Billede 18" descr="Et billede, der indeholder Grafik, Font/skrifttype, skærmbillede, grafisk design&#10;&#10;Indhold genereret af kunstig intelligens kan være forkert.">
            <a:extLst>
              <a:ext uri="{FF2B5EF4-FFF2-40B4-BE49-F238E27FC236}">
                <a16:creationId xmlns:a16="http://schemas.microsoft.com/office/drawing/2014/main" id="{1626C1CE-96EF-395C-47B3-C395B396E3F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444" y="2169044"/>
            <a:ext cx="1192441" cy="373174"/>
          </a:xfrm>
          <a:prstGeom prst="rect">
            <a:avLst/>
          </a:prstGeom>
        </p:spPr>
      </p:pic>
      <p:pic>
        <p:nvPicPr>
          <p:cNvPr id="25" name="Billede 24" descr="Et billede, der indeholder Font/skrifttype, Grafik, skærmbillede, sort&#10;&#10;Indhold genereret af kunstig intelligens kan være forkert.">
            <a:extLst>
              <a:ext uri="{FF2B5EF4-FFF2-40B4-BE49-F238E27FC236}">
                <a16:creationId xmlns:a16="http://schemas.microsoft.com/office/drawing/2014/main" id="{A8A7FAEC-65D8-300C-C9EC-205C83FDEBED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70" y="3839365"/>
            <a:ext cx="913378" cy="30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92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2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195437"/>
            <a:ext cx="10972800" cy="1143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492896"/>
            <a:ext cx="10972800" cy="3633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88918-E8D8-460C-AC3E-1AF5A66BC5F6}" type="datetime1">
              <a:rPr lang="da-DK" smtClean="0"/>
              <a:t>18-06-2025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7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8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9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1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6-17 September 2025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5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264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208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64" y="860189"/>
            <a:ext cx="10972800" cy="1143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056457"/>
            <a:ext cx="5386917" cy="6180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708919"/>
            <a:ext cx="5386917" cy="341724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2056457"/>
            <a:ext cx="5389033" cy="6180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708919"/>
            <a:ext cx="5389033" cy="34172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1A996-EE95-4FCB-9BA1-C87B9814B494}" type="datetime1">
              <a:rPr lang="da-DK" smtClean="0"/>
              <a:t>18-06-2025</a:t>
            </a:fld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12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13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1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6-17 September 2025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5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7421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83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96752"/>
            <a:ext cx="10972800" cy="1143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56C59-53C3-48A3-9B4F-7840E4B5B4DF}" type="datetime1">
              <a:rPr lang="da-DK" smtClean="0"/>
              <a:t>18-06-2025</a:t>
            </a:fld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10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11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1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6-17 September 2025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5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146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F48F9-2917-4C88-ABE7-249D08D435AD}" type="datetime1">
              <a:rPr lang="da-DK" smtClean="0"/>
              <a:t>18-06-2025</a:t>
            </a:fld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Picture 2" descr="AAU_LOGO_RGB_UK_crop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7" name="Picture 2" descr="ECD_logo0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8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1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6-17 September 2025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5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040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38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5457" y="2666278"/>
            <a:ext cx="6015234" cy="1362075"/>
          </a:xfrm>
        </p:spPr>
        <p:txBody>
          <a:bodyPr vert="horz" anchor="t"/>
          <a:lstStyle>
            <a:lvl1pPr algn="ctr">
              <a:defRPr sz="4000" b="1" cap="all" baseline="0"/>
            </a:lvl1pPr>
          </a:lstStyle>
          <a:p>
            <a:r>
              <a:rPr lang="en-US" dirty="0"/>
              <a:t>Thank you for </a:t>
            </a:r>
            <a:r>
              <a:rPr lang="en-US" dirty="0" err="1"/>
              <a:t>youR</a:t>
            </a:r>
            <a:r>
              <a:rPr lang="en-US" dirty="0"/>
              <a:t> attention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5457" y="4034012"/>
            <a:ext cx="6015233" cy="61912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uthor nam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20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1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4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1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6-17 September 2025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5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727848" y="2666278"/>
            <a:ext cx="306597" cy="1986858"/>
          </a:xfrm>
          <a:prstGeom prst="rect">
            <a:avLst/>
          </a:prstGeom>
          <a:solidFill>
            <a:srgbClr val="57A4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 rot="5400000">
            <a:off x="6311839" y="3069145"/>
            <a:ext cx="144017" cy="3312000"/>
          </a:xfrm>
          <a:prstGeom prst="rect">
            <a:avLst/>
          </a:prstGeom>
          <a:solidFill>
            <a:srgbClr val="9D7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 rot="5400000">
            <a:off x="9629681" y="3069146"/>
            <a:ext cx="144017" cy="3312000"/>
          </a:xfrm>
          <a:prstGeom prst="rect">
            <a:avLst/>
          </a:prstGeom>
          <a:solidFill>
            <a:srgbClr val="A6A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5028861" y="2666278"/>
            <a:ext cx="306597" cy="1986858"/>
          </a:xfrm>
          <a:prstGeom prst="rect">
            <a:avLst/>
          </a:prstGeom>
          <a:solidFill>
            <a:srgbClr val="263B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050">
            <a:extLst>
              <a:ext uri="{FF2B5EF4-FFF2-40B4-BE49-F238E27FC236}">
                <a16:creationId xmlns:a16="http://schemas.microsoft.com/office/drawing/2014/main" id="{0A0604B7-1400-ED9E-FEE3-6B5657DF00C8}"/>
              </a:ext>
            </a:extLst>
          </p:cNvPr>
          <p:cNvSpPr/>
          <p:nvPr userDrawn="1"/>
        </p:nvSpPr>
        <p:spPr>
          <a:xfrm>
            <a:off x="1086575" y="1448151"/>
            <a:ext cx="11620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Museo Sans 500" panose="02000000000000000000" pitchFamily="50" charset="0"/>
              </a:rPr>
              <a:t>Sponsored by</a:t>
            </a:r>
            <a:endParaRPr lang="en-GB" sz="1200" dirty="0">
              <a:latin typeface="Museo Sans 500" panose="02000000000000000000" pitchFamily="50" charset="0"/>
              <a:cs typeface="Arial" pitchFamily="34" charset="0"/>
            </a:endParaRPr>
          </a:p>
        </p:txBody>
      </p:sp>
      <p:pic>
        <p:nvPicPr>
          <p:cNvPr id="4" name="Picture 8" descr="kamstrup">
            <a:extLst>
              <a:ext uri="{FF2B5EF4-FFF2-40B4-BE49-F238E27FC236}">
                <a16:creationId xmlns:a16="http://schemas.microsoft.com/office/drawing/2014/main" id="{8F32F2BC-EEED-B90C-C670-A46F03022F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559" y="3002798"/>
            <a:ext cx="1250671" cy="371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2" name="Billede 21">
            <a:extLst>
              <a:ext uri="{FF2B5EF4-FFF2-40B4-BE49-F238E27FC236}">
                <a16:creationId xmlns:a16="http://schemas.microsoft.com/office/drawing/2014/main" id="{3D347A8E-3237-5B94-C5F2-27E464D605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397" y="2799827"/>
            <a:ext cx="1132202" cy="620283"/>
          </a:xfrm>
          <a:prstGeom prst="rect">
            <a:avLst/>
          </a:prstGeom>
        </p:spPr>
      </p:pic>
      <p:pic>
        <p:nvPicPr>
          <p:cNvPr id="25" name="Billede 24" descr="Et billede, der indeholder Grafik, grafisk design, skærmbillede, Farverigt&#10;&#10;Automatisk genereret beskrivelse">
            <a:extLst>
              <a:ext uri="{FF2B5EF4-FFF2-40B4-BE49-F238E27FC236}">
                <a16:creationId xmlns:a16="http://schemas.microsoft.com/office/drawing/2014/main" id="{2BCC74B1-9775-3E6A-C4BF-12901D8C375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192" y="4613100"/>
            <a:ext cx="1260927" cy="345554"/>
          </a:xfrm>
          <a:prstGeom prst="rect">
            <a:avLst/>
          </a:prstGeom>
        </p:spPr>
      </p:pic>
      <p:pic>
        <p:nvPicPr>
          <p:cNvPr id="30" name="Billede 29" descr="Et billede, der indeholder Font/skrifttype, tekst, Grafik, skærmbillede&#10;&#10;Indhold genereret af kunstig intelligens kan være forkert.">
            <a:extLst>
              <a:ext uri="{FF2B5EF4-FFF2-40B4-BE49-F238E27FC236}">
                <a16:creationId xmlns:a16="http://schemas.microsoft.com/office/drawing/2014/main" id="{0E60A5D9-7601-A016-DE34-8D673167359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30" y="4171072"/>
            <a:ext cx="1295049" cy="129504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25CF9DF5-DEE9-70D0-E6E3-DF5D1D2F4C4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133170" y="1854847"/>
            <a:ext cx="1100349" cy="682975"/>
          </a:xfrm>
          <a:prstGeom prst="rect">
            <a:avLst/>
          </a:prstGeom>
        </p:spPr>
      </p:pic>
      <p:pic>
        <p:nvPicPr>
          <p:cNvPr id="32" name="Billede 31" descr="Et billede, der indeholder skærmbillede, Font/skrifttype, Grafik, grafisk design&#10;&#10;Indhold genereret af kunstig intelligens kan være forkert.">
            <a:extLst>
              <a:ext uri="{FF2B5EF4-FFF2-40B4-BE49-F238E27FC236}">
                <a16:creationId xmlns:a16="http://schemas.microsoft.com/office/drawing/2014/main" id="{BDC1482C-3227-51D6-0F72-2D064358760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575" y="5429839"/>
            <a:ext cx="1295049" cy="276186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B3CADAEE-3720-3D11-76C9-13C088963DAD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36129" y="3747222"/>
            <a:ext cx="1307343" cy="486835"/>
          </a:xfrm>
          <a:prstGeom prst="rect">
            <a:avLst/>
          </a:prstGeom>
        </p:spPr>
      </p:pic>
      <p:pic>
        <p:nvPicPr>
          <p:cNvPr id="34" name="Billede 33" descr="Et billede, der indeholder Grafik, Font/skrifttype, skærmbillede, grafisk design&#10;&#10;Indhold genereret af kunstig intelligens kan være forkert.">
            <a:extLst>
              <a:ext uri="{FF2B5EF4-FFF2-40B4-BE49-F238E27FC236}">
                <a16:creationId xmlns:a16="http://schemas.microsoft.com/office/drawing/2014/main" id="{758462E1-6431-CF78-D953-1D87144BF32F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444" y="2169044"/>
            <a:ext cx="1192441" cy="373174"/>
          </a:xfrm>
          <a:prstGeom prst="rect">
            <a:avLst/>
          </a:prstGeom>
        </p:spPr>
      </p:pic>
      <p:pic>
        <p:nvPicPr>
          <p:cNvPr id="35" name="Billede 34" descr="Et billede, der indeholder Font/skrifttype, Grafik, skærmbillede, sort&#10;&#10;Indhold genereret af kunstig intelligens kan være forkert.">
            <a:extLst>
              <a:ext uri="{FF2B5EF4-FFF2-40B4-BE49-F238E27FC236}">
                <a16:creationId xmlns:a16="http://schemas.microsoft.com/office/drawing/2014/main" id="{9EFE9EA2-6D4D-AF42-6B7C-C68798648567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170" y="3839365"/>
            <a:ext cx="913378" cy="302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821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5048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059C31-193E-4847-8E6F-A1A03B3CA043}" type="datetime1">
              <a:rPr lang="da-DK" smtClean="0"/>
              <a:t>18-06-2025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210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3" r:id="rId3"/>
    <p:sldLayoutId id="2147483654" r:id="rId4"/>
    <p:sldLayoutId id="2147483655" r:id="rId5"/>
    <p:sldLayoutId id="2147483656" r:id="rId6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576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F3F7AF-76C0-497A-B5E4-FDCD1D90F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F1CBBDE5-3243-40A5-B14A-52962C25D1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8254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296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7530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8963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276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A0558F238722E4A87858A261B385A9A" ma:contentTypeVersion="14" ma:contentTypeDescription="Opret et nyt dokument." ma:contentTypeScope="" ma:versionID="df7b1b69bf9c601438507dcd04a0f6d1">
  <xsd:schema xmlns:xsd="http://www.w3.org/2001/XMLSchema" xmlns:xs="http://www.w3.org/2001/XMLSchema" xmlns:p="http://schemas.microsoft.com/office/2006/metadata/properties" xmlns:ns3="5d1b4fd4-c07b-4c84-89e3-bdde29d7bf6f" xmlns:ns4="93de73cf-449c-470b-a45d-fc882adeee99" targetNamespace="http://schemas.microsoft.com/office/2006/metadata/properties" ma:root="true" ma:fieldsID="4e9668868dad1c2b245c3eb8092a9d7b" ns3:_="" ns4:_="">
    <xsd:import namespace="5d1b4fd4-c07b-4c84-89e3-bdde29d7bf6f"/>
    <xsd:import namespace="93de73cf-449c-470b-a45d-fc882adeee9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1b4fd4-c07b-4c84-89e3-bdde29d7bf6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værdi for deling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de73cf-449c-470b-a45d-fc882adeee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642145C-6F1E-4B0E-91A7-EA67BD9A9D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1b4fd4-c07b-4c84-89e3-bdde29d7bf6f"/>
    <ds:schemaRef ds:uri="93de73cf-449c-470b-a45d-fc882adeee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982BA2F-2E1A-4836-87EE-BC7FF84292C7}">
  <ds:schemaRefs>
    <ds:schemaRef ds:uri="http://schemas.microsoft.com/office/2006/documentManagement/types"/>
    <ds:schemaRef ds:uri="http://purl.org/dc/terms/"/>
    <ds:schemaRef ds:uri="93de73cf-449c-470b-a45d-fc882adeee99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5d1b4fd4-c07b-4c84-89e3-bdde29d7bf6f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333CCE0-AC46-4150-8721-84CBDF21A89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4</TotalTime>
  <Words>1</Words>
  <Application>Microsoft Office PowerPoint</Application>
  <PresentationFormat>Widescreen</PresentationFormat>
  <Paragraphs>1</Paragraphs>
  <Slides>5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5</vt:i4>
      </vt:variant>
    </vt:vector>
  </HeadingPairs>
  <TitlesOfParts>
    <vt:vector size="10" baseType="lpstr">
      <vt:lpstr>Arial</vt:lpstr>
      <vt:lpstr>Calibri</vt:lpstr>
      <vt:lpstr>Museo Sans 500</vt:lpstr>
      <vt:lpstr>Office Theme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Aalborg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Conference on Smart Energy Systems and 4th Generation District Heating Copenhagen, 25-26 August 2015</dc:title>
  <dc:creator>Nina Ferdinand</dc:creator>
  <cp:lastModifiedBy>Mette Reiche Sørensen</cp:lastModifiedBy>
  <cp:revision>33</cp:revision>
  <dcterms:created xsi:type="dcterms:W3CDTF">2015-08-05T13:20:26Z</dcterms:created>
  <dcterms:modified xsi:type="dcterms:W3CDTF">2025-06-18T14:0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0558F238722E4A87858A261B385A9A</vt:lpwstr>
  </property>
</Properties>
</file>